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</p:sldMasterIdLst>
  <p:notesMasterIdLst>
    <p:notesMasterId r:id="rId7"/>
  </p:notesMasterIdLst>
  <p:sldIdLst>
    <p:sldId id="256" r:id="rId2"/>
    <p:sldId id="275" r:id="rId3"/>
    <p:sldId id="273" r:id="rId4"/>
    <p:sldId id="274" r:id="rId5"/>
    <p:sldId id="260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9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ED9FA-CD92-44C1-9257-83E6A60456C6}" type="datetimeFigureOut">
              <a:rPr lang="en-IN" smtClean="0"/>
              <a:t>23-01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B56E86-9165-43F5-9C6D-F235B9A867C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891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changepondonweb" TargetMode="External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12" Type="http://schemas.openxmlformats.org/officeDocument/2006/relationships/hyperlink" Target="https://plus.google.com/+ChangepondTechnologiesLtd" TargetMode="External"/><Relationship Id="rId17" Type="http://schemas.openxmlformats.org/officeDocument/2006/relationships/image" Target="../media/image18.png"/><Relationship Id="rId2" Type="http://schemas.openxmlformats.org/officeDocument/2006/relationships/image" Target="../media/image5.png"/><Relationship Id="rId16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youtube.com/user/changepond" TargetMode="External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6.png"/><Relationship Id="rId10" Type="http://schemas.openxmlformats.org/officeDocument/2006/relationships/hyperlink" Target="https://www.linkedin.com/company/changepond" TargetMode="External"/><Relationship Id="rId4" Type="http://schemas.openxmlformats.org/officeDocument/2006/relationships/hyperlink" Target="https://www.facebook.com/pages/Changepond-Technologies-priavate-limited" TargetMode="External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330" y="477080"/>
            <a:ext cx="7131327" cy="5181600"/>
          </a:xfrm>
          <a:prstGeom prst="rect">
            <a:avLst/>
          </a:prstGeom>
        </p:spPr>
      </p:pic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05794" y="6448152"/>
            <a:ext cx="5648445" cy="221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224" y="0"/>
            <a:ext cx="5781229" cy="4327663"/>
          </a:xfrm>
          <a:prstGeom prst="rect">
            <a:avLst/>
          </a:prstGeom>
        </p:spPr>
      </p:pic>
      <p:sp>
        <p:nvSpPr>
          <p:cNvPr id="12" name="Retângulo 37">
            <a:extLst>
              <a:ext uri="{FF2B5EF4-FFF2-40B4-BE49-F238E27FC236}">
                <a16:creationId xmlns:a16="http://schemas.microsoft.com/office/drawing/2014/main" xmlns="" id="{16A31662-FB7B-4804-8C49-DCD9CFAAF8FE}"/>
              </a:ext>
            </a:extLst>
          </p:cNvPr>
          <p:cNvSpPr/>
          <p:nvPr/>
        </p:nvSpPr>
        <p:spPr>
          <a:xfrm>
            <a:off x="105510" y="6350633"/>
            <a:ext cx="453682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b="1" kern="0" dirty="0">
                <a:solidFill>
                  <a:prstClr val="white"/>
                </a:solidFill>
                <a:cs typeface="Calibri" panose="020F0502020204030204" pitchFamily="34" charset="0"/>
              </a:rPr>
              <a:t>Agile | Make Digital Real | Smart Automate</a:t>
            </a:r>
            <a:endParaRPr lang="en-US" sz="1600" kern="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2714B4E-8CA2-4BFB-BCAA-5AEA052862C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263" y="344555"/>
            <a:ext cx="2247352" cy="225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36173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9433" y="106016"/>
            <a:ext cx="11882511" cy="715619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01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1007" y="227197"/>
            <a:ext cx="1605381" cy="14199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924334" y="2098592"/>
            <a:ext cx="4640239" cy="1325563"/>
          </a:xfr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IN" sz="40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12" name="Retângulo 43">
            <a:extLst>
              <a:ext uri="{FF2B5EF4-FFF2-40B4-BE49-F238E27FC236}">
                <a16:creationId xmlns:a16="http://schemas.microsoft.com/office/drawing/2014/main" xmlns="" id="{9DA6AC82-56F4-42E8-9A63-106E229B350E}"/>
              </a:ext>
            </a:extLst>
          </p:cNvPr>
          <p:cNvSpPr/>
          <p:nvPr/>
        </p:nvSpPr>
        <p:spPr>
          <a:xfrm>
            <a:off x="4851040" y="6536774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© </a:t>
            </a:r>
            <a:r>
              <a:rPr lang="en-US" sz="900" dirty="0" smtClean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2023 </a:t>
            </a:r>
            <a:r>
              <a:rPr lang="en-US" sz="900" dirty="0">
                <a:solidFill>
                  <a:srgbClr val="E7E6E6">
                    <a:lumMod val="50000"/>
                  </a:srgbClr>
                </a:solidFill>
                <a:cs typeface="Arial" panose="020B0604020202020204" pitchFamily="34" charset="0"/>
              </a:rPr>
              <a:t>Changepond Technologies . All rights reserved.</a:t>
            </a:r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7069" y="6555758"/>
            <a:ext cx="3193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9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762737"/>
            <a:ext cx="1924334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6564573" y="1762737"/>
            <a:ext cx="5627427" cy="354841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048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1 with line">
    <p:bg>
      <p:bgPr>
        <a:solidFill>
          <a:srgbClr val="E6E7E7">
            <a:alpha val="9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12192000" cy="64273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Freeform 1725"/>
          <p:cNvSpPr>
            <a:spLocks/>
          </p:cNvSpPr>
          <p:nvPr/>
        </p:nvSpPr>
        <p:spPr bwMode="auto">
          <a:xfrm flipH="1">
            <a:off x="0" y="4287914"/>
            <a:ext cx="12189441" cy="2570087"/>
          </a:xfrm>
          <a:custGeom>
            <a:avLst/>
            <a:gdLst>
              <a:gd name="T0" fmla="*/ 14252 w 14296"/>
              <a:gd name="T1" fmla="*/ 2771 h 5728"/>
              <a:gd name="T2" fmla="*/ 14044 w 14296"/>
              <a:gd name="T3" fmla="*/ 3007 h 5728"/>
              <a:gd name="T4" fmla="*/ 13797 w 14296"/>
              <a:gd name="T5" fmla="*/ 3201 h 5728"/>
              <a:gd name="T6" fmla="*/ 13509 w 14296"/>
              <a:gd name="T7" fmla="*/ 3355 h 5728"/>
              <a:gd name="T8" fmla="*/ 13182 w 14296"/>
              <a:gd name="T9" fmla="*/ 3466 h 5728"/>
              <a:gd name="T10" fmla="*/ 12813 w 14296"/>
              <a:gd name="T11" fmla="*/ 3534 h 5728"/>
              <a:gd name="T12" fmla="*/ 12403 w 14296"/>
              <a:gd name="T13" fmla="*/ 3556 h 5728"/>
              <a:gd name="T14" fmla="*/ 11952 w 14296"/>
              <a:gd name="T15" fmla="*/ 3530 h 5728"/>
              <a:gd name="T16" fmla="*/ 11460 w 14296"/>
              <a:gd name="T17" fmla="*/ 3458 h 5728"/>
              <a:gd name="T18" fmla="*/ 10924 w 14296"/>
              <a:gd name="T19" fmla="*/ 3335 h 5728"/>
              <a:gd name="T20" fmla="*/ 10348 w 14296"/>
              <a:gd name="T21" fmla="*/ 3164 h 5728"/>
              <a:gd name="T22" fmla="*/ 9729 w 14296"/>
              <a:gd name="T23" fmla="*/ 2941 h 5728"/>
              <a:gd name="T24" fmla="*/ 9068 w 14296"/>
              <a:gd name="T25" fmla="*/ 2664 h 5728"/>
              <a:gd name="T26" fmla="*/ 8364 w 14296"/>
              <a:gd name="T27" fmla="*/ 2333 h 5728"/>
              <a:gd name="T28" fmla="*/ 7618 w 14296"/>
              <a:gd name="T29" fmla="*/ 1947 h 5728"/>
              <a:gd name="T30" fmla="*/ 6828 w 14296"/>
              <a:gd name="T31" fmla="*/ 1505 h 5728"/>
              <a:gd name="T32" fmla="*/ 6206 w 14296"/>
              <a:gd name="T33" fmla="*/ 1135 h 5728"/>
              <a:gd name="T34" fmla="*/ 5579 w 14296"/>
              <a:gd name="T35" fmla="*/ 779 h 5728"/>
              <a:gd name="T36" fmla="*/ 4803 w 14296"/>
              <a:gd name="T37" fmla="*/ 421 h 5728"/>
              <a:gd name="T38" fmla="*/ 4095 w 14296"/>
              <a:gd name="T39" fmla="*/ 180 h 5728"/>
              <a:gd name="T40" fmla="*/ 3450 w 14296"/>
              <a:gd name="T41" fmla="*/ 45 h 5728"/>
              <a:gd name="T42" fmla="*/ 2867 w 14296"/>
              <a:gd name="T43" fmla="*/ 0 h 5728"/>
              <a:gd name="T44" fmla="*/ 2345 w 14296"/>
              <a:gd name="T45" fmla="*/ 32 h 5728"/>
              <a:gd name="T46" fmla="*/ 1880 w 14296"/>
              <a:gd name="T47" fmla="*/ 129 h 5728"/>
              <a:gd name="T48" fmla="*/ 1473 w 14296"/>
              <a:gd name="T49" fmla="*/ 274 h 5728"/>
              <a:gd name="T50" fmla="*/ 1120 w 14296"/>
              <a:gd name="T51" fmla="*/ 457 h 5728"/>
              <a:gd name="T52" fmla="*/ 819 w 14296"/>
              <a:gd name="T53" fmla="*/ 661 h 5728"/>
              <a:gd name="T54" fmla="*/ 569 w 14296"/>
              <a:gd name="T55" fmla="*/ 874 h 5728"/>
              <a:gd name="T56" fmla="*/ 243 w 14296"/>
              <a:gd name="T57" fmla="*/ 1229 h 5728"/>
              <a:gd name="T58" fmla="*/ 11 w 14296"/>
              <a:gd name="T59" fmla="*/ 1573 h 5728"/>
              <a:gd name="T60" fmla="*/ 0 w 14296"/>
              <a:gd name="T61" fmla="*/ 5728 h 5728"/>
              <a:gd name="T62" fmla="*/ 14296 w 14296"/>
              <a:gd name="T63" fmla="*/ 2706 h 5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96" h="5728">
                <a:moveTo>
                  <a:pt x="14296" y="2706"/>
                </a:moveTo>
                <a:lnTo>
                  <a:pt x="14252" y="2771"/>
                </a:lnTo>
                <a:lnTo>
                  <a:pt x="14152" y="2893"/>
                </a:lnTo>
                <a:lnTo>
                  <a:pt x="14044" y="3007"/>
                </a:lnTo>
                <a:lnTo>
                  <a:pt x="13925" y="3109"/>
                </a:lnTo>
                <a:lnTo>
                  <a:pt x="13797" y="3201"/>
                </a:lnTo>
                <a:lnTo>
                  <a:pt x="13659" y="3283"/>
                </a:lnTo>
                <a:lnTo>
                  <a:pt x="13509" y="3355"/>
                </a:lnTo>
                <a:lnTo>
                  <a:pt x="13350" y="3416"/>
                </a:lnTo>
                <a:lnTo>
                  <a:pt x="13182" y="3466"/>
                </a:lnTo>
                <a:lnTo>
                  <a:pt x="13002" y="3505"/>
                </a:lnTo>
                <a:lnTo>
                  <a:pt x="12813" y="3534"/>
                </a:lnTo>
                <a:lnTo>
                  <a:pt x="12613" y="3550"/>
                </a:lnTo>
                <a:lnTo>
                  <a:pt x="12403" y="3556"/>
                </a:lnTo>
                <a:lnTo>
                  <a:pt x="12183" y="3548"/>
                </a:lnTo>
                <a:lnTo>
                  <a:pt x="11952" y="3530"/>
                </a:lnTo>
                <a:lnTo>
                  <a:pt x="11710" y="3499"/>
                </a:lnTo>
                <a:lnTo>
                  <a:pt x="11460" y="3458"/>
                </a:lnTo>
                <a:lnTo>
                  <a:pt x="11198" y="3403"/>
                </a:lnTo>
                <a:lnTo>
                  <a:pt x="10924" y="3335"/>
                </a:lnTo>
                <a:lnTo>
                  <a:pt x="10642" y="3256"/>
                </a:lnTo>
                <a:lnTo>
                  <a:pt x="10348" y="3164"/>
                </a:lnTo>
                <a:lnTo>
                  <a:pt x="10044" y="3059"/>
                </a:lnTo>
                <a:lnTo>
                  <a:pt x="9729" y="2941"/>
                </a:lnTo>
                <a:lnTo>
                  <a:pt x="9405" y="2808"/>
                </a:lnTo>
                <a:lnTo>
                  <a:pt x="9068" y="2664"/>
                </a:lnTo>
                <a:lnTo>
                  <a:pt x="8723" y="2506"/>
                </a:lnTo>
                <a:lnTo>
                  <a:pt x="8364" y="2333"/>
                </a:lnTo>
                <a:lnTo>
                  <a:pt x="7997" y="2147"/>
                </a:lnTo>
                <a:lnTo>
                  <a:pt x="7618" y="1947"/>
                </a:lnTo>
                <a:lnTo>
                  <a:pt x="7228" y="1734"/>
                </a:lnTo>
                <a:lnTo>
                  <a:pt x="6828" y="1505"/>
                </a:lnTo>
                <a:lnTo>
                  <a:pt x="6416" y="1263"/>
                </a:lnTo>
                <a:lnTo>
                  <a:pt x="6206" y="1135"/>
                </a:lnTo>
                <a:lnTo>
                  <a:pt x="5993" y="1007"/>
                </a:lnTo>
                <a:lnTo>
                  <a:pt x="5579" y="779"/>
                </a:lnTo>
                <a:lnTo>
                  <a:pt x="5183" y="585"/>
                </a:lnTo>
                <a:lnTo>
                  <a:pt x="4803" y="421"/>
                </a:lnTo>
                <a:lnTo>
                  <a:pt x="4440" y="287"/>
                </a:lnTo>
                <a:lnTo>
                  <a:pt x="4095" y="180"/>
                </a:lnTo>
                <a:lnTo>
                  <a:pt x="3764" y="101"/>
                </a:lnTo>
                <a:lnTo>
                  <a:pt x="3450" y="45"/>
                </a:lnTo>
                <a:lnTo>
                  <a:pt x="3150" y="12"/>
                </a:lnTo>
                <a:lnTo>
                  <a:pt x="2867" y="0"/>
                </a:lnTo>
                <a:lnTo>
                  <a:pt x="2599" y="8"/>
                </a:lnTo>
                <a:lnTo>
                  <a:pt x="2345" y="32"/>
                </a:lnTo>
                <a:lnTo>
                  <a:pt x="2106" y="74"/>
                </a:lnTo>
                <a:lnTo>
                  <a:pt x="1880" y="129"/>
                </a:lnTo>
                <a:lnTo>
                  <a:pt x="1670" y="196"/>
                </a:lnTo>
                <a:lnTo>
                  <a:pt x="1473" y="274"/>
                </a:lnTo>
                <a:lnTo>
                  <a:pt x="1290" y="362"/>
                </a:lnTo>
                <a:lnTo>
                  <a:pt x="1120" y="457"/>
                </a:lnTo>
                <a:lnTo>
                  <a:pt x="963" y="556"/>
                </a:lnTo>
                <a:lnTo>
                  <a:pt x="819" y="661"/>
                </a:lnTo>
                <a:lnTo>
                  <a:pt x="688" y="768"/>
                </a:lnTo>
                <a:lnTo>
                  <a:pt x="569" y="874"/>
                </a:lnTo>
                <a:lnTo>
                  <a:pt x="410" y="1033"/>
                </a:lnTo>
                <a:lnTo>
                  <a:pt x="243" y="1229"/>
                </a:lnTo>
                <a:lnTo>
                  <a:pt x="121" y="1397"/>
                </a:lnTo>
                <a:lnTo>
                  <a:pt x="11" y="1573"/>
                </a:lnTo>
                <a:lnTo>
                  <a:pt x="0" y="1599"/>
                </a:lnTo>
                <a:lnTo>
                  <a:pt x="0" y="5728"/>
                </a:lnTo>
                <a:lnTo>
                  <a:pt x="14296" y="5728"/>
                </a:lnTo>
                <a:lnTo>
                  <a:pt x="14296" y="2706"/>
                </a:lnTo>
                <a:close/>
              </a:path>
            </a:pathLst>
          </a:custGeom>
          <a:solidFill>
            <a:srgbClr val="002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405794" y="4711064"/>
            <a:ext cx="5648446" cy="1640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lang="en-US" sz="4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715065" y="6625886"/>
            <a:ext cx="93240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518"/>
          <a:stretch/>
        </p:blipFill>
        <p:spPr>
          <a:xfrm>
            <a:off x="327432" y="6533217"/>
            <a:ext cx="2293926" cy="1723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842" y="2446421"/>
            <a:ext cx="3690030" cy="283945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E1EEF4"/>
              </a:clrFrom>
              <a:clrTo>
                <a:srgbClr val="E1EE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1033" y="617622"/>
            <a:ext cx="2799347" cy="215407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E7F2F6"/>
              </a:clrFrom>
              <a:clrTo>
                <a:srgbClr val="E7F2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727" y="561474"/>
            <a:ext cx="3320715" cy="2555268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20" name="Group 19"/>
          <p:cNvGrpSpPr/>
          <p:nvPr/>
        </p:nvGrpSpPr>
        <p:grpSpPr>
          <a:xfrm>
            <a:off x="11186160" y="2853795"/>
            <a:ext cx="1005840" cy="1005840"/>
            <a:chOff x="10437085" y="2994163"/>
            <a:chExt cx="1005840" cy="1005840"/>
          </a:xfrm>
        </p:grpSpPr>
        <p:sp>
          <p:nvSpPr>
            <p:cNvPr id="21" name="Oval 20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66960" y="2853795"/>
            <a:ext cx="1005840" cy="1005840"/>
            <a:chOff x="10437085" y="2994163"/>
            <a:chExt cx="1005840" cy="1005840"/>
          </a:xfrm>
        </p:grpSpPr>
        <p:sp>
          <p:nvSpPr>
            <p:cNvPr id="24" name="Oval 23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643486" y="2853795"/>
            <a:ext cx="1005840" cy="1005840"/>
            <a:chOff x="10437085" y="2994163"/>
            <a:chExt cx="1005840" cy="1005840"/>
          </a:xfrm>
        </p:grpSpPr>
        <p:sp>
          <p:nvSpPr>
            <p:cNvPr id="27" name="Oval 26"/>
            <p:cNvSpPr/>
            <p:nvPr/>
          </p:nvSpPr>
          <p:spPr>
            <a:xfrm>
              <a:off x="10437085" y="2994163"/>
              <a:ext cx="1005840" cy="100584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10753878" y="3312975"/>
              <a:ext cx="351924" cy="368215"/>
            </a:xfrm>
            <a:custGeom>
              <a:avLst/>
              <a:gdLst>
                <a:gd name="T0" fmla="*/ 174 w 181"/>
                <a:gd name="T1" fmla="*/ 78 h 190"/>
                <a:gd name="T2" fmla="*/ 105 w 181"/>
                <a:gd name="T3" fmla="*/ 9 h 190"/>
                <a:gd name="T4" fmla="*/ 73 w 181"/>
                <a:gd name="T5" fmla="*/ 9 h 190"/>
                <a:gd name="T6" fmla="*/ 73 w 181"/>
                <a:gd name="T7" fmla="*/ 41 h 190"/>
                <a:gd name="T8" fmla="*/ 100 w 181"/>
                <a:gd name="T9" fmla="*/ 68 h 190"/>
                <a:gd name="T10" fmla="*/ 26 w 181"/>
                <a:gd name="T11" fmla="*/ 68 h 190"/>
                <a:gd name="T12" fmla="*/ 0 w 181"/>
                <a:gd name="T13" fmla="*/ 92 h 190"/>
                <a:gd name="T14" fmla="*/ 26 w 181"/>
                <a:gd name="T15" fmla="*/ 116 h 190"/>
                <a:gd name="T16" fmla="*/ 104 w 181"/>
                <a:gd name="T17" fmla="*/ 116 h 190"/>
                <a:gd name="T18" fmla="*/ 73 w 181"/>
                <a:gd name="T19" fmla="*/ 148 h 190"/>
                <a:gd name="T20" fmla="*/ 73 w 181"/>
                <a:gd name="T21" fmla="*/ 181 h 190"/>
                <a:gd name="T22" fmla="*/ 105 w 181"/>
                <a:gd name="T23" fmla="*/ 181 h 190"/>
                <a:gd name="T24" fmla="*/ 174 w 181"/>
                <a:gd name="T25" fmla="*/ 112 h 190"/>
                <a:gd name="T26" fmla="*/ 181 w 181"/>
                <a:gd name="T27" fmla="*/ 95 h 190"/>
                <a:gd name="T28" fmla="*/ 174 w 181"/>
                <a:gd name="T29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1" h="190">
                  <a:moveTo>
                    <a:pt x="174" y="78"/>
                  </a:moveTo>
                  <a:cubicBezTo>
                    <a:pt x="105" y="9"/>
                    <a:pt x="105" y="9"/>
                    <a:pt x="105" y="9"/>
                  </a:cubicBezTo>
                  <a:cubicBezTo>
                    <a:pt x="96" y="0"/>
                    <a:pt x="82" y="0"/>
                    <a:pt x="73" y="9"/>
                  </a:cubicBezTo>
                  <a:cubicBezTo>
                    <a:pt x="64" y="18"/>
                    <a:pt x="64" y="32"/>
                    <a:pt x="73" y="41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12" y="68"/>
                    <a:pt x="0" y="78"/>
                    <a:pt x="0" y="92"/>
                  </a:cubicBezTo>
                  <a:cubicBezTo>
                    <a:pt x="0" y="106"/>
                    <a:pt x="12" y="116"/>
                    <a:pt x="26" y="116"/>
                  </a:cubicBezTo>
                  <a:cubicBezTo>
                    <a:pt x="104" y="116"/>
                    <a:pt x="104" y="116"/>
                    <a:pt x="104" y="116"/>
                  </a:cubicBezTo>
                  <a:cubicBezTo>
                    <a:pt x="73" y="148"/>
                    <a:pt x="73" y="148"/>
                    <a:pt x="73" y="148"/>
                  </a:cubicBezTo>
                  <a:cubicBezTo>
                    <a:pt x="64" y="157"/>
                    <a:pt x="64" y="172"/>
                    <a:pt x="73" y="181"/>
                  </a:cubicBezTo>
                  <a:cubicBezTo>
                    <a:pt x="82" y="190"/>
                    <a:pt x="96" y="190"/>
                    <a:pt x="105" y="18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9" y="107"/>
                    <a:pt x="181" y="101"/>
                    <a:pt x="181" y="95"/>
                  </a:cubicBezTo>
                  <a:cubicBezTo>
                    <a:pt x="181" y="89"/>
                    <a:pt x="179" y="83"/>
                    <a:pt x="174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21146265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">
            <a:extLst>
              <a:ext uri="{FF2B5EF4-FFF2-40B4-BE49-F238E27FC236}">
                <a16:creationId xmlns:a16="http://schemas.microsoft.com/office/drawing/2014/main" xmlns="" id="{02699B51-FA02-4FDF-AE74-A1E10D8E54F8}"/>
              </a:ext>
            </a:extLst>
          </p:cNvPr>
          <p:cNvSpPr/>
          <p:nvPr/>
        </p:nvSpPr>
        <p:spPr>
          <a:xfrm>
            <a:off x="0" y="-19050"/>
            <a:ext cx="6896100" cy="6877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600" extrusionOk="0">
                <a:moveTo>
                  <a:pt x="19674" y="13863"/>
                </a:moveTo>
                <a:cubicBezTo>
                  <a:pt x="18894" y="13386"/>
                  <a:pt x="17938" y="13367"/>
                  <a:pt x="17095" y="13671"/>
                </a:cubicBezTo>
                <a:cubicBezTo>
                  <a:pt x="16251" y="13974"/>
                  <a:pt x="15509" y="14575"/>
                  <a:pt x="14872" y="15276"/>
                </a:cubicBezTo>
                <a:cubicBezTo>
                  <a:pt x="14503" y="15683"/>
                  <a:pt x="14156" y="16133"/>
                  <a:pt x="13706" y="16415"/>
                </a:cubicBezTo>
                <a:cubicBezTo>
                  <a:pt x="13094" y="16798"/>
                  <a:pt x="12319" y="16821"/>
                  <a:pt x="11691" y="16473"/>
                </a:cubicBezTo>
                <a:cubicBezTo>
                  <a:pt x="11064" y="16125"/>
                  <a:pt x="10600" y="15416"/>
                  <a:pt x="10485" y="14631"/>
                </a:cubicBezTo>
                <a:cubicBezTo>
                  <a:pt x="10374" y="13866"/>
                  <a:pt x="10578" y="13092"/>
                  <a:pt x="10637" y="12320"/>
                </a:cubicBezTo>
                <a:cubicBezTo>
                  <a:pt x="10818" y="9919"/>
                  <a:pt x="9595" y="7669"/>
                  <a:pt x="8173" y="5887"/>
                </a:cubicBezTo>
                <a:cubicBezTo>
                  <a:pt x="5976" y="3132"/>
                  <a:pt x="3144" y="990"/>
                  <a:pt x="0" y="0"/>
                </a:cubicBezTo>
                <a:lnTo>
                  <a:pt x="0" y="21600"/>
                </a:lnTo>
                <a:lnTo>
                  <a:pt x="20743" y="21600"/>
                </a:lnTo>
                <a:cubicBezTo>
                  <a:pt x="20952" y="21249"/>
                  <a:pt x="21129" y="20876"/>
                  <a:pt x="21262" y="20473"/>
                </a:cubicBezTo>
                <a:cubicBezTo>
                  <a:pt x="21541" y="19624"/>
                  <a:pt x="21600" y="18697"/>
                  <a:pt x="21537" y="17793"/>
                </a:cubicBezTo>
                <a:cubicBezTo>
                  <a:pt x="21430" y="16243"/>
                  <a:pt x="20874" y="14598"/>
                  <a:pt x="19674" y="13863"/>
                </a:cubicBezTo>
                <a:close/>
              </a:path>
            </a:pathLst>
          </a:custGeom>
          <a:gradFill flip="none" rotWithShape="1">
            <a:gsLst>
              <a:gs pos="0">
                <a:srgbClr val="34068F">
                  <a:shade val="30000"/>
                  <a:satMod val="115000"/>
                </a:srgbClr>
              </a:gs>
              <a:gs pos="50000">
                <a:srgbClr val="34068F">
                  <a:shade val="67500"/>
                  <a:satMod val="115000"/>
                </a:srgbClr>
              </a:gs>
              <a:gs pos="100000">
                <a:srgbClr val="34068F">
                  <a:shade val="100000"/>
                  <a:satMod val="115000"/>
                </a:srgbClr>
              </a:gs>
            </a:gsLst>
            <a:lin ang="0" scaled="1"/>
            <a:tileRect/>
          </a:gradFill>
          <a:ln w="12700">
            <a:miter lim="400000"/>
          </a:ln>
          <a:effectLst/>
        </p:spPr>
        <p:txBody>
          <a:bodyPr lIns="38100" tIns="38100" rIns="38100" bIns="38100" anchor="ctr"/>
          <a:lstStyle/>
          <a:p>
            <a:pPr>
              <a:defRPr/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" b="44001"/>
          <a:stretch>
            <a:fillRect/>
          </a:stretch>
        </p:blipFill>
        <p:spPr>
          <a:xfrm>
            <a:off x="274422" y="3367893"/>
            <a:ext cx="2647386" cy="204424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274422" y="6468675"/>
            <a:ext cx="350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prstClr val="white"/>
                </a:solidFill>
              </a:rPr>
              <a:t>Copyright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© </a:t>
            </a:r>
            <a:r>
              <a:rPr lang="en-US" sz="1200" dirty="0" smtClean="0">
                <a:solidFill>
                  <a:prstClr val="white"/>
                </a:solidFill>
                <a:cs typeface="Arial" panose="020B0604020202020204" pitchFamily="34" charset="0"/>
              </a:rPr>
              <a:t>2023 </a:t>
            </a:r>
            <a:r>
              <a:rPr lang="en-US" sz="1200" dirty="0">
                <a:solidFill>
                  <a:prstClr val="white"/>
                </a:solidFill>
                <a:cs typeface="Arial" panose="020B0604020202020204" pitchFamily="34" charset="0"/>
              </a:rPr>
              <a:t>Changepond. All rights reserved.</a:t>
            </a:r>
            <a:r>
              <a:rPr lang="en-US" sz="120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5" name="Picture 4" descr="C:\Users\sanjeevkumar.s\Desktop\images\2\Asset 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373314" y="221264"/>
            <a:ext cx="9856786" cy="4261616"/>
          </a:xfrm>
          <a:prstGeom prst="rect">
            <a:avLst/>
          </a:prstGeom>
          <a:noFill/>
        </p:spPr>
      </p:pic>
      <p:pic>
        <p:nvPicPr>
          <p:cNvPr id="6" name="Picture 10" descr="C:\Users\sanjeevkumar.s\Desktop\Extra work ML\ML\3\Predictive analytics\facebook-logo-button.png">
            <a:hlinkClick r:id="rId4" tooltip="Facebook-Changepond"/>
          </p:cNvPr>
          <p:cNvPicPr>
            <a:picLocks noChangeAspect="1" noChangeArrowheads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83" y="3737228"/>
            <a:ext cx="365760" cy="365760"/>
          </a:xfrm>
          <a:prstGeom prst="rect">
            <a:avLst/>
          </a:prstGeom>
          <a:noFill/>
        </p:spPr>
      </p:pic>
      <p:pic>
        <p:nvPicPr>
          <p:cNvPr id="7" name="Picture 12" descr="C:\Users\sanjeevkumar.s\Desktop\Extra work ML\ML\3\Predictive analytics\youtube-symbol.png">
            <a:hlinkClick r:id="rId6" tooltip="Youtube-Changepond"/>
          </p:cNvPr>
          <p:cNvPicPr>
            <a:picLocks noChangeAspect="1" noChangeArrowheads="1"/>
          </p:cNvPicPr>
          <p:nvPr/>
        </p:nvPicPr>
        <p:blipFill>
          <a:blip r:embed="rId7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28" y="3737228"/>
            <a:ext cx="365760" cy="365760"/>
          </a:xfrm>
          <a:prstGeom prst="rect">
            <a:avLst/>
          </a:prstGeom>
          <a:noFill/>
        </p:spPr>
      </p:pic>
      <p:pic>
        <p:nvPicPr>
          <p:cNvPr id="8" name="Picture 13" descr="C:\Users\sanjeevkumar.s\Desktop\Extra work ML\ML\3\Predictive analytics\twitter-logo-button.png">
            <a:hlinkClick r:id="rId8" tooltip="Twitter-Changepond"/>
          </p:cNvPr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5273" y="3737228"/>
            <a:ext cx="365760" cy="365760"/>
          </a:xfrm>
          <a:prstGeom prst="rect">
            <a:avLst/>
          </a:prstGeom>
          <a:noFill/>
        </p:spPr>
      </p:pic>
      <p:pic>
        <p:nvPicPr>
          <p:cNvPr id="9" name="Picture 14" descr="C:\Users\sanjeevkumar.s\Desktop\Extra work ML\ML\3\Predictive analytics\linkedin-button.png">
            <a:hlinkClick r:id="rId10" tooltip="Linkedin-Changepond"/>
          </p:cNvPr>
          <p:cNvPicPr>
            <a:picLocks noChangeAspect="1" noChangeArrowheads="1"/>
          </p:cNvPicPr>
          <p:nvPr/>
        </p:nvPicPr>
        <p:blipFill>
          <a:blip r:embed="rId11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18" y="3737228"/>
            <a:ext cx="365760" cy="365760"/>
          </a:xfrm>
          <a:prstGeom prst="rect">
            <a:avLst/>
          </a:prstGeom>
          <a:noFill/>
        </p:spPr>
      </p:pic>
      <p:pic>
        <p:nvPicPr>
          <p:cNvPr id="10" name="Picture 3" descr="C:\Users\sanjeevkumar.s\Desktop\Extra work ML\ML\3\Predictive analytics\google-plus-social-logotype.pn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8364" y="3737228"/>
            <a:ext cx="365760" cy="365760"/>
          </a:xfrm>
          <a:prstGeom prst="rect">
            <a:avLst/>
          </a:prstGeom>
          <a:noFill/>
        </p:spPr>
      </p:pic>
      <p:pic>
        <p:nvPicPr>
          <p:cNvPr id="11" name="Picture 2" descr="C:\Users\sanjeevkumar.s\Desktop\Sd\sd2\ep.png"/>
          <p:cNvPicPr>
            <a:picLocks noChangeAspect="1" noChangeArrowheads="1"/>
          </p:cNvPicPr>
          <p:nvPr/>
        </p:nvPicPr>
        <p:blipFill>
          <a:blip r:embed="rId14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4857" y="5929720"/>
            <a:ext cx="457200" cy="421640"/>
          </a:xfrm>
          <a:prstGeom prst="rect">
            <a:avLst/>
          </a:prstGeom>
          <a:noFill/>
        </p:spPr>
      </p:pic>
      <p:pic>
        <p:nvPicPr>
          <p:cNvPr id="13" name="Picture 3" descr="C:\Users\sanjeevkumar.s\Desktop\Sd\sd2\financial-icon.png"/>
          <p:cNvPicPr>
            <a:picLocks noChangeAspect="1" noChangeArrowheads="1"/>
          </p:cNvPicPr>
          <p:nvPr/>
        </p:nvPicPr>
        <p:blipFill>
          <a:blip r:embed="rId15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7881" y="5911940"/>
            <a:ext cx="457200" cy="457200"/>
          </a:xfrm>
          <a:prstGeom prst="rect">
            <a:avLst/>
          </a:prstGeom>
          <a:noFill/>
        </p:spPr>
      </p:pic>
      <p:pic>
        <p:nvPicPr>
          <p:cNvPr id="14" name="Picture 4" descr="C:\Users\sanjeevkumar.s\Desktop\Sd\sd2\health-care.png"/>
          <p:cNvPicPr>
            <a:picLocks noChangeAspect="1" noChangeArrowheads="1"/>
          </p:cNvPicPr>
          <p:nvPr/>
        </p:nvPicPr>
        <p:blipFill>
          <a:blip r:embed="rId16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905" y="5911940"/>
            <a:ext cx="457200" cy="457200"/>
          </a:xfrm>
          <a:prstGeom prst="rect">
            <a:avLst/>
          </a:prstGeom>
          <a:noFill/>
        </p:spPr>
      </p:pic>
      <p:pic>
        <p:nvPicPr>
          <p:cNvPr id="15" name="Picture 5" descr="C:\Users\sanjeevkumar.s\Desktop\Sd\sd2\manufUtil.png"/>
          <p:cNvPicPr>
            <a:picLocks noChangeAspect="1" noChangeArrowheads="1"/>
          </p:cNvPicPr>
          <p:nvPr/>
        </p:nvPicPr>
        <p:blipFill>
          <a:blip r:embed="rId17" cstate="email">
            <a:lum bright="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3929" y="5911940"/>
            <a:ext cx="457200" cy="457200"/>
          </a:xfrm>
          <a:prstGeom prst="rect">
            <a:avLst/>
          </a:prstGeom>
          <a:noFill/>
        </p:spPr>
      </p:pic>
      <p:pic>
        <p:nvPicPr>
          <p:cNvPr id="16" name="Picture 2" descr="Image result for scm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-21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36954" y="5911940"/>
            <a:ext cx="457200" cy="457200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7234226" y="6449996"/>
            <a:ext cx="4780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>
                <a:solidFill>
                  <a:srgbClr val="002060"/>
                </a:solidFill>
              </a:rPr>
              <a:t>Experience Trust &amp; Lasting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61811" y="2422359"/>
            <a:ext cx="347832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6000" b="1" i="1" dirty="0" smtClean="0">
                <a:solidFill>
                  <a:srgbClr val="002060"/>
                </a:solidFill>
              </a:rPr>
              <a:t>Thank You</a:t>
            </a:r>
            <a:endParaRPr lang="en-IN" sz="6000" b="1" i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3047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489" y="0"/>
            <a:ext cx="11591779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488" y="1544271"/>
            <a:ext cx="11591779" cy="4786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73910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742" r:id="rId3"/>
    <p:sldLayoutId id="2147483741" r:id="rId4"/>
    <p:sldLayoutId id="2147483665" r:id="rId5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2135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99" y="715292"/>
            <a:ext cx="5382491" cy="28084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3446885"/>
            <a:ext cx="5863936" cy="304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5573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85" y="716973"/>
            <a:ext cx="5570533" cy="282632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348" y="3543300"/>
            <a:ext cx="5869270" cy="2961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19" y="369303"/>
            <a:ext cx="5419714" cy="274797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464" y="3366280"/>
            <a:ext cx="5919613" cy="2997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9179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22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hangepond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7BEB8"/>
      </a:accent1>
      <a:accent2>
        <a:srgbClr val="DC2543"/>
      </a:accent2>
      <a:accent3>
        <a:srgbClr val="284651"/>
      </a:accent3>
      <a:accent4>
        <a:srgbClr val="EFB730"/>
      </a:accent4>
      <a:accent5>
        <a:srgbClr val="4472C4"/>
      </a:accent5>
      <a:accent6>
        <a:srgbClr val="87C488"/>
      </a:accent6>
      <a:hlink>
        <a:srgbClr val="00386C"/>
      </a:hlink>
      <a:folHlink>
        <a:srgbClr val="E5A46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C0DD746-69AB-44FE-A623-E5481FCD5FAF}" vid="{06C4BFF9-4046-44A4-BCC8-D84B3DB2D2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166</TotalTime>
  <Words>0</Words>
  <Application>Microsoft Office PowerPoint</Application>
  <PresentationFormat>Widescreen</PresentationFormat>
  <Paragraphs>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Nikhil R</cp:lastModifiedBy>
  <cp:revision>145</cp:revision>
  <dcterms:created xsi:type="dcterms:W3CDTF">2023-01-03T09:22:10Z</dcterms:created>
  <dcterms:modified xsi:type="dcterms:W3CDTF">2024-01-23T13:11:09Z</dcterms:modified>
</cp:coreProperties>
</file>